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60" d="100"/>
          <a:sy n="60" d="100"/>
        </p:scale>
        <p:origin x="96" y="12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8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8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3837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AD DS Trusts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7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AD DS Trusts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 DS Trusts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2-18T15:01:18Z</dcterms:created>
  <dcterms:modified xsi:type="dcterms:W3CDTF">2021-02-18T15:01:5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